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480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FF25E-6513-40E4-B1BE-97D4CD6535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FA226B-04C5-40A3-8C5C-F9A0E918B4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3C81E5-9D17-4D9C-8E97-3E9DD71B9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E06F35-26A5-4DFE-967C-07B6B7164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BE8439-B153-4C4B-B19A-FF13B31C1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4460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B0A65-568F-4E60-9C4C-76B0BA823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7DAABD-B36C-4F33-87CC-F0CE6A5B97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E6D265-8987-4B3A-ADEA-4085A0EA26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EE0CE-212B-48D2-850F-F04558F43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607BDB-5929-42A0-B59B-27E92C262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20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6BEF31-C58C-4ECE-8BA4-295E16EB7AF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670C84-EEBF-4004-9FD8-1A64D5D11F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2B9643-8855-413C-B949-63D00826FC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A4658-8E11-479F-84D8-AD4736AA6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444E32-0578-47D7-87EC-1FFD0A263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604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1223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719BCD-D80B-405A-81D9-667300F33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CF133E-F7E3-4263-A763-2854396DFC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FA700-0F2F-4553-9797-DCACE1ED6E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8A10B-609B-4FA9-AFEF-071DA6D71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DDD4C3-2011-4B34-8D5A-1B54C7A92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1074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7D850-EC4D-4D9F-975A-D5D31DD29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ABF40C-9DEB-4145-9FC1-7B8BF88ED7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6EECCE-22B0-42F5-AEC7-FD9303716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BE8BA2-3C9C-446E-BECC-F6CC92F06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8F8CAE-6EDB-41DF-A60A-2676FB968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68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D3833-EB39-4B48-9BAE-8FAAE8F1B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ED7DD-2C74-460D-97FB-AFB9B118B8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380E8B-89C0-4ADA-9773-ACCEBFC833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B9B5FC-5393-427C-BD02-A845DD35A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D51331-24EE-415E-A812-F34121AF06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4223C1-20DB-4B54-9123-06CCB7B7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0212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3161D-0506-4860-8538-3EE33E46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2948F4-877E-44FB-A5BA-2D360574F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99F311-6435-4CAF-AE45-B05DD53CE3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9AE07C-9EA5-4BB7-936F-14C4C49DFE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132F33-4DFE-4312-A893-7D54304221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05BA59-6F6C-470C-9D44-D9FF96575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178A68D-1A52-4C80-8FE7-CC0805E1E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91CF861-98A5-4B5C-B6C7-611419EBB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731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A0D6D5-B200-4464-9E0F-37E3BA5A1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EEE0DC-318E-4338-ACF3-88A91A10D5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FA785-40FE-48C2-A97D-0218203C0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FC4F87-4E0F-4248-A1FC-2DAC8CBAF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911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19A032-EB39-4A66-A1DF-AA12DBD92E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26CED6-16C5-482A-8684-586FCDA1C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7D89-EE2D-477C-8992-8E55FAE2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80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7482D-728E-4259-8475-9BF18C4D0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E49C63-EF43-4F0C-8A42-37FC6D18A4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2DE356-2689-4DF3-85B6-98AD8C743C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8ED8FA-688B-44E7-87BC-54D20BE213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3572E8-3888-4201-A35D-41C319095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795336-0E51-487F-AE89-43EAC41BA0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37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AB242-DFFB-47A9-B2A5-B09372309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DCEB47-D560-4B1B-A7E9-AFEC01D67E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337A83-610C-4CC5-B9C8-C93308D1F3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8CEDE4-BF80-4FB9-8544-1C8F8B3BF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413019-6783-4712-B91B-91E85BC5E8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81E462-CF8D-4DE5-8DC4-DA95CA03C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472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80C457-775A-4658-88FB-28E7F62A0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743FF-F5A9-49A4-8003-6A9598890A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3C2B8C-1C23-4F47-9DD6-C1E10D1856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6E2EA0-5FB7-4096-8EB0-EAD8FA29D94F}" type="datetimeFigureOut">
              <a:rPr lang="en-US" smtClean="0"/>
              <a:t>6/2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7FEE55-CCCE-494D-BCBC-93E04FC7DD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FB6CC6-3CD6-4AB2-B54B-E6898A919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51BF87-C665-4C2B-BF6D-30576E21FE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619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2">
            <a:extLst>
              <a:ext uri="{FF2B5EF4-FFF2-40B4-BE49-F238E27FC236}">
                <a16:creationId xmlns:a16="http://schemas.microsoft.com/office/drawing/2014/main" id="{C9B692C5-EA99-4174-89C4-AED52B8D68E6}"/>
              </a:ext>
            </a:extLst>
          </p:cNvPr>
          <p:cNvSpPr txBox="1">
            <a:spLocks/>
          </p:cNvSpPr>
          <p:nvPr/>
        </p:nvSpPr>
        <p:spPr>
          <a:xfrm>
            <a:off x="161987" y="286424"/>
            <a:ext cx="12374412" cy="598801"/>
          </a:xfrm>
          <a:prstGeom prst="rect">
            <a:avLst/>
          </a:prstGeom>
          <a:effectLst/>
        </p:spPr>
        <p:txBody>
          <a:bodyPr vert="horz" lIns="72000" tIns="46800" rIns="72000" bIns="3600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defRPr/>
            </a:pPr>
            <a:r>
              <a:rPr lang="en-GB" sz="2400" b="1" dirty="0">
                <a:solidFill>
                  <a:srgbClr val="0070C0"/>
                </a:solidFill>
                <a:latin typeface="Graphik" panose="020B0503030202060203" pitchFamily="34" charset="77"/>
              </a:rPr>
              <a:t>E-Comm: Developer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5FA0D51-977A-44EF-980E-F13702C02CB2}"/>
              </a:ext>
            </a:extLst>
          </p:cNvPr>
          <p:cNvCxnSpPr/>
          <p:nvPr/>
        </p:nvCxnSpPr>
        <p:spPr>
          <a:xfrm>
            <a:off x="230545" y="886405"/>
            <a:ext cx="113366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Slide Number Placeholder 129">
            <a:extLst>
              <a:ext uri="{FF2B5EF4-FFF2-40B4-BE49-F238E27FC236}">
                <a16:creationId xmlns:a16="http://schemas.microsoft.com/office/drawing/2014/main" id="{975B0603-26C6-4823-A913-3A0E804B4FFA}"/>
              </a:ext>
            </a:extLst>
          </p:cNvPr>
          <p:cNvSpPr txBox="1">
            <a:spLocks/>
          </p:cNvSpPr>
          <p:nvPr/>
        </p:nvSpPr>
        <p:spPr>
          <a:xfrm>
            <a:off x="9359676" y="647232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6583D2-A20B-49AE-8770-CD76D4AFBC4D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CB19737-5051-4A22-B991-7F5450ED608E}"/>
              </a:ext>
            </a:extLst>
          </p:cNvPr>
          <p:cNvCxnSpPr/>
          <p:nvPr/>
        </p:nvCxnSpPr>
        <p:spPr>
          <a:xfrm>
            <a:off x="230545" y="886405"/>
            <a:ext cx="113366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Slide Number Placeholder 129">
            <a:extLst>
              <a:ext uri="{FF2B5EF4-FFF2-40B4-BE49-F238E27FC236}">
                <a16:creationId xmlns:a16="http://schemas.microsoft.com/office/drawing/2014/main" id="{71AA36AD-98C1-49D5-93FB-84530C563610}"/>
              </a:ext>
            </a:extLst>
          </p:cNvPr>
          <p:cNvSpPr txBox="1">
            <a:spLocks/>
          </p:cNvSpPr>
          <p:nvPr/>
        </p:nvSpPr>
        <p:spPr>
          <a:xfrm>
            <a:off x="9359676" y="647232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6583D2-A20B-49AE-8770-CD76D4AFBC4D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8D5E163-C64A-4C67-8D07-535F8446C1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4481499"/>
              </p:ext>
            </p:extLst>
          </p:nvPr>
        </p:nvGraphicFramePr>
        <p:xfrm>
          <a:off x="228599" y="1082875"/>
          <a:ext cx="5052005" cy="1161794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623552">
                  <a:extLst>
                    <a:ext uri="{9D8B030D-6E8A-4147-A177-3AD203B41FA5}">
                      <a16:colId xmlns:a16="http://schemas.microsoft.com/office/drawing/2014/main" val="839586799"/>
                    </a:ext>
                  </a:extLst>
                </a:gridCol>
                <a:gridCol w="3428453">
                  <a:extLst>
                    <a:ext uri="{9D8B030D-6E8A-4147-A177-3AD203B41FA5}">
                      <a16:colId xmlns:a16="http://schemas.microsoft.com/office/drawing/2014/main" val="1063511647"/>
                    </a:ext>
                  </a:extLst>
                </a:gridCol>
              </a:tblGrid>
              <a:tr h="3598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m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57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200" b="1" dirty="0">
                          <a:effectLst/>
                          <a:latin typeface="Graphik" panose="020B0503030202060203" pitchFamily="34" charset="0"/>
                        </a:rPr>
                        <a:t>Javed Alam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68052127"/>
                  </a:ext>
                </a:extLst>
              </a:tr>
              <a:tr h="291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</a:rPr>
                        <a:t>Title    </a:t>
                      </a:r>
                      <a:endParaRPr lang="en-US" sz="1100" b="1">
                        <a:solidFill>
                          <a:schemeClr val="bg1"/>
                        </a:solidFill>
                        <a:effectLst/>
                        <a:latin typeface="Graphik" panose="020B050303020206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57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200" b="1" dirty="0">
                          <a:effectLst/>
                          <a:latin typeface="Graphik" panose="020B0503030202060203" pitchFamily="34" charset="0"/>
                        </a:rPr>
                        <a:t>E-Comm: Developer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21412678"/>
                  </a:ext>
                </a:extLst>
              </a:tr>
              <a:tr h="5106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</a:rPr>
                        <a:t>Relevant Years of Experience</a:t>
                      </a:r>
                      <a:endParaRPr lang="en-US" sz="1100" b="1">
                        <a:solidFill>
                          <a:schemeClr val="bg1"/>
                        </a:solidFill>
                        <a:effectLst/>
                        <a:latin typeface="Graphik" panose="020B050303020206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57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latin typeface="Graphik" panose="020B0503030202060203" pitchFamily="34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1729446"/>
                  </a:ext>
                </a:extLst>
              </a:tr>
            </a:tbl>
          </a:graphicData>
        </a:graphic>
      </p:graphicFrame>
      <p:graphicFrame>
        <p:nvGraphicFramePr>
          <p:cNvPr id="172" name="Table 171">
            <a:extLst>
              <a:ext uri="{FF2B5EF4-FFF2-40B4-BE49-F238E27FC236}">
                <a16:creationId xmlns:a16="http://schemas.microsoft.com/office/drawing/2014/main" id="{6526EE98-E3DE-4CCA-96EA-A96BAB857D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7836778"/>
              </p:ext>
            </p:extLst>
          </p:nvPr>
        </p:nvGraphicFramePr>
        <p:xfrm>
          <a:off x="238571" y="2395869"/>
          <a:ext cx="5052005" cy="252156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520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272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BACKGROU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255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Javed Alam has more than 3 years experience in telco industry and more than 5 years of other IT  backend developer experienc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He has experience in to built an email distribution system and a weekly newsletter. Set up an Online Magento stor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Created RESTFUL APIs using Laravel and Lumen and consumed them with AngularJ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Worked on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eComm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 websites using PHP and Zend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3" name="Table 172">
            <a:extLst>
              <a:ext uri="{FF2B5EF4-FFF2-40B4-BE49-F238E27FC236}">
                <a16:creationId xmlns:a16="http://schemas.microsoft.com/office/drawing/2014/main" id="{82172501-387E-4794-A061-56DC2ED07F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27816"/>
              </p:ext>
            </p:extLst>
          </p:nvPr>
        </p:nvGraphicFramePr>
        <p:xfrm>
          <a:off x="228601" y="4452719"/>
          <a:ext cx="5052003" cy="2082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45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74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9479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SPECIFIC KNOWLEDGE &amp; SKIL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73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Graphik" panose="020B050303020206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nctional Experience/Skill Set             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Graphik" panose="020B050303020206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ustry Experience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52784">
                <a:tc>
                  <a:txBody>
                    <a:bodyPr/>
                    <a:lstStyle/>
                    <a:p>
                      <a:pPr marL="137160" lvl="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en-US" sz="1200" kern="1200" dirty="0">
                          <a:solidFill>
                            <a:prstClr val="black"/>
                          </a:solidFill>
                          <a:latin typeface="Graphik" panose="020B0503030202060203" pitchFamily="34" charset="0"/>
                          <a:ea typeface="+mn-ea"/>
                          <a:cs typeface="Calibri" pitchFamily="34" charset="0"/>
                        </a:rPr>
                        <a:t>PHP , Java</a:t>
                      </a:r>
                    </a:p>
                    <a:p>
                      <a:pPr marL="137160" lvl="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en-US" sz="1200" kern="1200" dirty="0">
                          <a:solidFill>
                            <a:prstClr val="black"/>
                          </a:solidFill>
                          <a:latin typeface="Graphik" panose="020B0503030202060203" pitchFamily="34" charset="0"/>
                          <a:ea typeface="+mn-ea"/>
                          <a:cs typeface="Calibri" pitchFamily="34" charset="0"/>
                        </a:rPr>
                        <a:t>MySQL, Mongo dB</a:t>
                      </a:r>
                    </a:p>
                    <a:p>
                      <a:pPr marL="137160" lvl="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en-US" sz="1200" b="1" kern="1200" dirty="0">
                          <a:solidFill>
                            <a:prstClr val="black"/>
                          </a:solidFill>
                          <a:latin typeface="Graphik" panose="020B0503030202060203" pitchFamily="34" charset="0"/>
                          <a:ea typeface="+mn-ea"/>
                          <a:cs typeface="Calibri" pitchFamily="34" charset="0"/>
                        </a:rPr>
                        <a:t>PHP Framework </a:t>
                      </a:r>
                      <a:r>
                        <a:rPr lang="en-US" sz="1200" kern="1200" dirty="0">
                          <a:solidFill>
                            <a:prstClr val="black"/>
                          </a:solidFill>
                          <a:latin typeface="Graphik" panose="020B0503030202060203" pitchFamily="34" charset="0"/>
                          <a:ea typeface="+mn-ea"/>
                          <a:cs typeface="Calibri" pitchFamily="34" charset="0"/>
                        </a:rPr>
                        <a:t>( Zend, Laravel/Lumen, CodeIgniter, Symphony and  </a:t>
                      </a:r>
                      <a:r>
                        <a:rPr lang="en-US" sz="1200" kern="1200" dirty="0" err="1">
                          <a:solidFill>
                            <a:prstClr val="black"/>
                          </a:solidFill>
                          <a:latin typeface="Graphik" panose="020B0503030202060203" pitchFamily="34" charset="0"/>
                          <a:ea typeface="+mn-ea"/>
                          <a:cs typeface="Calibri" pitchFamily="34" charset="0"/>
                        </a:rPr>
                        <a:t>CakePHP</a:t>
                      </a:r>
                      <a:r>
                        <a:rPr lang="en-US" sz="1200" kern="1200" dirty="0">
                          <a:solidFill>
                            <a:prstClr val="black"/>
                          </a:solidFill>
                          <a:latin typeface="Graphik" panose="020B0503030202060203" pitchFamily="34" charset="0"/>
                          <a:ea typeface="+mn-ea"/>
                          <a:cs typeface="Calibri" pitchFamily="34" charset="0"/>
                        </a:rPr>
                        <a:t>)</a:t>
                      </a:r>
                    </a:p>
                    <a:p>
                      <a:pPr marL="137160" lvl="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en-SG" sz="1200" b="1" dirty="0">
                          <a:latin typeface="Graphik" panose="020B0503030202060203" pitchFamily="34" charset="0"/>
                        </a:rPr>
                        <a:t>Web</a:t>
                      </a:r>
                      <a:r>
                        <a:rPr lang="en-SG" sz="1200" dirty="0">
                          <a:latin typeface="Graphik" panose="020B0503030202060203" pitchFamily="34" charset="0"/>
                        </a:rPr>
                        <a:t> (</a:t>
                      </a:r>
                      <a:r>
                        <a:rPr lang="en-US" sz="1200" dirty="0">
                          <a:latin typeface="Graphik" panose="020B0503030202060203" pitchFamily="34" charset="0"/>
                        </a:rPr>
                        <a:t>HTML5, CSS3, Angular1.xx, </a:t>
                      </a:r>
                      <a:r>
                        <a:rPr lang="en-US" sz="1200" dirty="0" err="1">
                          <a:latin typeface="Graphik" panose="020B0503030202060203" pitchFamily="34" charset="0"/>
                        </a:rPr>
                        <a:t>Jquery</a:t>
                      </a:r>
                      <a:r>
                        <a:rPr lang="en-US" sz="1200" dirty="0">
                          <a:latin typeface="Graphik" panose="020B0503030202060203" pitchFamily="34" charset="0"/>
                        </a:rPr>
                        <a:t>, Angular2, xml  and AJAX)</a:t>
                      </a:r>
                    </a:p>
                    <a:p>
                      <a:pPr marL="137160" lvl="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itchFamily="34" charset="0"/>
                        <a:buChar char="•"/>
                        <a:defRPr/>
                      </a:pPr>
                      <a:r>
                        <a:rPr lang="en-US" sz="1200" dirty="0">
                          <a:latin typeface="Graphik" panose="020B0503030202060203" pitchFamily="34" charset="0"/>
                        </a:rPr>
                        <a:t>Python </a:t>
                      </a:r>
                      <a:endParaRPr lang="en-SG" sz="1200" dirty="0">
                        <a:latin typeface="Graphik" panose="020B0503030202060203" pitchFamily="34" charset="0"/>
                      </a:endParaRPr>
                    </a:p>
                  </a:txBody>
                  <a:tcPr marL="68580" marR="68580" marB="0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7160" indent="-137160" eaLnBrk="0" hangingPunct="0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Font typeface="Arial" panose="020B0604020202020204" pitchFamily="34" charset="0"/>
                        <a:buChar char="•"/>
                        <a:tabLst>
                          <a:tab pos="1203325" algn="l"/>
                          <a:tab pos="1597025" algn="l"/>
                        </a:tabLst>
                      </a:pPr>
                      <a:r>
                        <a:rPr lang="en-GB" sz="1200" dirty="0">
                          <a:latin typeface="Graphik" panose="020B0503030202060203" pitchFamily="34" charset="0"/>
                          <a:ea typeface="ＭＳ Ｐゴシック" charset="-128"/>
                        </a:rPr>
                        <a:t>Telecommunication</a:t>
                      </a:r>
                    </a:p>
                    <a:p>
                      <a:pPr marL="137160" indent="-137160" eaLnBrk="0" hangingPunct="0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Font typeface="Arial" panose="020B0604020202020204" pitchFamily="34" charset="0"/>
                        <a:buChar char="•"/>
                        <a:tabLst>
                          <a:tab pos="1203325" algn="l"/>
                          <a:tab pos="1597025" algn="l"/>
                        </a:tabLst>
                      </a:pPr>
                      <a:r>
                        <a:rPr lang="en-GB" sz="1200" dirty="0">
                          <a:latin typeface="Graphik" panose="020B0503030202060203" pitchFamily="34" charset="0"/>
                          <a:ea typeface="ＭＳ Ｐゴシック" charset="-128"/>
                        </a:rPr>
                        <a:t>IT Software service provider.</a:t>
                      </a:r>
                    </a:p>
                    <a:p>
                      <a:pPr marL="168275" indent="-168275" eaLnBrk="0" hangingPunct="0">
                        <a:lnSpc>
                          <a:spcPct val="9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Font typeface="Arial" panose="020B0604020202020204" pitchFamily="34" charset="0"/>
                        <a:buChar char="•"/>
                        <a:tabLst>
                          <a:tab pos="1203325" algn="l"/>
                          <a:tab pos="1597025" algn="l"/>
                        </a:tabLst>
                      </a:pPr>
                      <a:endParaRPr lang="en-GB" sz="1200" dirty="0">
                        <a:latin typeface="Graphik" panose="020B0503030202060203" pitchFamily="34" charset="0"/>
                        <a:ea typeface="ＭＳ Ｐゴシック" charset="-128"/>
                      </a:endParaRPr>
                    </a:p>
                    <a:p>
                      <a:pPr marL="119063" lvl="0" indent="-119063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itchFamily="34" charset="0"/>
                        <a:buChar char="•"/>
                        <a:defRPr/>
                      </a:pPr>
                      <a:endParaRPr lang="en-AU" sz="1200" kern="1200" dirty="0">
                        <a:solidFill>
                          <a:prstClr val="black"/>
                        </a:solidFill>
                        <a:latin typeface="Graphik" panose="020B0503030202060203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8580" marR="68580" marB="0">
                    <a:lnL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74" name="Group 128">
            <a:extLst>
              <a:ext uri="{FF2B5EF4-FFF2-40B4-BE49-F238E27FC236}">
                <a16:creationId xmlns:a16="http://schemas.microsoft.com/office/drawing/2014/main" id="{4D4B88DF-DC70-40A4-BDFE-4FB87251F6D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4504" y="4548775"/>
            <a:ext cx="192640" cy="236181"/>
            <a:chOff x="1398" y="2998"/>
            <a:chExt cx="373" cy="427"/>
          </a:xfrm>
          <a:solidFill>
            <a:schemeClr val="bg1"/>
          </a:solidFill>
        </p:grpSpPr>
        <p:sp>
          <p:nvSpPr>
            <p:cNvPr id="175" name="Freeform 129">
              <a:extLst>
                <a:ext uri="{FF2B5EF4-FFF2-40B4-BE49-F238E27FC236}">
                  <a16:creationId xmlns:a16="http://schemas.microsoft.com/office/drawing/2014/main" id="{C5BE4BF0-D841-4BB1-9EC0-C6B71950D9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4" name="Freeform 130">
              <a:extLst>
                <a:ext uri="{FF2B5EF4-FFF2-40B4-BE49-F238E27FC236}">
                  <a16:creationId xmlns:a16="http://schemas.microsoft.com/office/drawing/2014/main" id="{1369E1E9-C956-4B5D-B8B6-A28005A37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6" name="Freeform 131">
              <a:extLst>
                <a:ext uri="{FF2B5EF4-FFF2-40B4-BE49-F238E27FC236}">
                  <a16:creationId xmlns:a16="http://schemas.microsoft.com/office/drawing/2014/main" id="{7D3E7CAE-1D48-4851-A32C-B85A0557E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7" name="Freeform 132">
              <a:extLst>
                <a:ext uri="{FF2B5EF4-FFF2-40B4-BE49-F238E27FC236}">
                  <a16:creationId xmlns:a16="http://schemas.microsoft.com/office/drawing/2014/main" id="{AD64B8DC-1B00-4ADB-95E0-2A8B1FC65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8" name="Freeform 133">
              <a:extLst>
                <a:ext uri="{FF2B5EF4-FFF2-40B4-BE49-F238E27FC236}">
                  <a16:creationId xmlns:a16="http://schemas.microsoft.com/office/drawing/2014/main" id="{0E51255C-25E5-4EBC-9077-DF7BAF911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9" name="Freeform 134">
              <a:extLst>
                <a:ext uri="{FF2B5EF4-FFF2-40B4-BE49-F238E27FC236}">
                  <a16:creationId xmlns:a16="http://schemas.microsoft.com/office/drawing/2014/main" id="{CE03699C-9FCD-4163-82F1-9FB228581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0" name="Freeform 135">
              <a:extLst>
                <a:ext uri="{FF2B5EF4-FFF2-40B4-BE49-F238E27FC236}">
                  <a16:creationId xmlns:a16="http://schemas.microsoft.com/office/drawing/2014/main" id="{E5B0318C-9B9B-4191-8FFD-477B31DCE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1" name="Freeform 136">
              <a:extLst>
                <a:ext uri="{FF2B5EF4-FFF2-40B4-BE49-F238E27FC236}">
                  <a16:creationId xmlns:a16="http://schemas.microsoft.com/office/drawing/2014/main" id="{57C28EDF-0744-40BB-B0B9-72EBEE321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8" name="Freeform 137">
              <a:extLst>
                <a:ext uri="{FF2B5EF4-FFF2-40B4-BE49-F238E27FC236}">
                  <a16:creationId xmlns:a16="http://schemas.microsoft.com/office/drawing/2014/main" id="{A71FC5A3-B1E4-45E5-B806-424F05693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9" name="Freeform 138">
              <a:extLst>
                <a:ext uri="{FF2B5EF4-FFF2-40B4-BE49-F238E27FC236}">
                  <a16:creationId xmlns:a16="http://schemas.microsoft.com/office/drawing/2014/main" id="{B58A36C0-A9BF-4179-9D89-9328EF20B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0" name="Freeform 139">
              <a:extLst>
                <a:ext uri="{FF2B5EF4-FFF2-40B4-BE49-F238E27FC236}">
                  <a16:creationId xmlns:a16="http://schemas.microsoft.com/office/drawing/2014/main" id="{EE2FE121-73FD-4AA4-B499-366793D76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1" name="Freeform 140">
              <a:extLst>
                <a:ext uri="{FF2B5EF4-FFF2-40B4-BE49-F238E27FC236}">
                  <a16:creationId xmlns:a16="http://schemas.microsoft.com/office/drawing/2014/main" id="{BF4C5A44-D1CF-4CC3-B3C4-27465EA9DB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BFA98146-BA40-4D9C-982D-3A062A207EC3}"/>
              </a:ext>
            </a:extLst>
          </p:cNvPr>
          <p:cNvGrpSpPr/>
          <p:nvPr/>
        </p:nvGrpSpPr>
        <p:grpSpPr>
          <a:xfrm>
            <a:off x="1799559" y="2494205"/>
            <a:ext cx="154624" cy="160324"/>
            <a:chOff x="3589077" y="1343591"/>
            <a:chExt cx="224432" cy="232706"/>
          </a:xfrm>
        </p:grpSpPr>
        <p:sp>
          <p:nvSpPr>
            <p:cNvPr id="213" name="Freeform 96">
              <a:extLst>
                <a:ext uri="{FF2B5EF4-FFF2-40B4-BE49-F238E27FC236}">
                  <a16:creationId xmlns:a16="http://schemas.microsoft.com/office/drawing/2014/main" id="{06267407-F60C-4032-B333-019BFB8D3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6316" y="1456324"/>
              <a:ext cx="210987" cy="119973"/>
            </a:xfrm>
            <a:custGeom>
              <a:avLst/>
              <a:gdLst>
                <a:gd name="T0" fmla="*/ 0 w 190"/>
                <a:gd name="T1" fmla="*/ 0 h 108"/>
                <a:gd name="T2" fmla="*/ 95 w 190"/>
                <a:gd name="T3" fmla="*/ 53 h 108"/>
                <a:gd name="T4" fmla="*/ 190 w 190"/>
                <a:gd name="T5" fmla="*/ 0 h 108"/>
                <a:gd name="T6" fmla="*/ 190 w 190"/>
                <a:gd name="T7" fmla="*/ 108 h 108"/>
                <a:gd name="T8" fmla="*/ 0 w 190"/>
                <a:gd name="T9" fmla="*/ 108 h 108"/>
                <a:gd name="T10" fmla="*/ 0 w 190"/>
                <a:gd name="T1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0" h="108">
                  <a:moveTo>
                    <a:pt x="0" y="0"/>
                  </a:moveTo>
                  <a:cubicBezTo>
                    <a:pt x="20" y="32"/>
                    <a:pt x="55" y="53"/>
                    <a:pt x="95" y="53"/>
                  </a:cubicBezTo>
                  <a:cubicBezTo>
                    <a:pt x="135" y="53"/>
                    <a:pt x="170" y="32"/>
                    <a:pt x="190" y="0"/>
                  </a:cubicBezTo>
                  <a:cubicBezTo>
                    <a:pt x="190" y="108"/>
                    <a:pt x="190" y="108"/>
                    <a:pt x="190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4" name="Freeform 97">
              <a:extLst>
                <a:ext uri="{FF2B5EF4-FFF2-40B4-BE49-F238E27FC236}">
                  <a16:creationId xmlns:a16="http://schemas.microsoft.com/office/drawing/2014/main" id="{453EF16D-7795-43DD-97B3-9112A4BA3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9077" y="1343591"/>
              <a:ext cx="224432" cy="158239"/>
            </a:xfrm>
            <a:custGeom>
              <a:avLst/>
              <a:gdLst>
                <a:gd name="T0" fmla="*/ 152 w 201"/>
                <a:gd name="T1" fmla="*/ 42 h 142"/>
                <a:gd name="T2" fmla="*/ 152 w 201"/>
                <a:gd name="T3" fmla="*/ 17 h 142"/>
                <a:gd name="T4" fmla="*/ 135 w 201"/>
                <a:gd name="T5" fmla="*/ 0 h 142"/>
                <a:gd name="T6" fmla="*/ 67 w 201"/>
                <a:gd name="T7" fmla="*/ 0 h 142"/>
                <a:gd name="T8" fmla="*/ 50 w 201"/>
                <a:gd name="T9" fmla="*/ 17 h 142"/>
                <a:gd name="T10" fmla="*/ 50 w 201"/>
                <a:gd name="T11" fmla="*/ 42 h 142"/>
                <a:gd name="T12" fmla="*/ 0 w 201"/>
                <a:gd name="T13" fmla="*/ 42 h 142"/>
                <a:gd name="T14" fmla="*/ 101 w 201"/>
                <a:gd name="T15" fmla="*/ 142 h 142"/>
                <a:gd name="T16" fmla="*/ 201 w 201"/>
                <a:gd name="T17" fmla="*/ 42 h 142"/>
                <a:gd name="T18" fmla="*/ 152 w 201"/>
                <a:gd name="T19" fmla="*/ 42 h 142"/>
                <a:gd name="T20" fmla="*/ 101 w 201"/>
                <a:gd name="T21" fmla="*/ 137 h 142"/>
                <a:gd name="T22" fmla="*/ 86 w 201"/>
                <a:gd name="T23" fmla="*/ 122 h 142"/>
                <a:gd name="T24" fmla="*/ 101 w 201"/>
                <a:gd name="T25" fmla="*/ 107 h 142"/>
                <a:gd name="T26" fmla="*/ 116 w 201"/>
                <a:gd name="T27" fmla="*/ 122 h 142"/>
                <a:gd name="T28" fmla="*/ 101 w 201"/>
                <a:gd name="T29" fmla="*/ 137 h 142"/>
                <a:gd name="T30" fmla="*/ 141 w 201"/>
                <a:gd name="T31" fmla="*/ 42 h 142"/>
                <a:gd name="T32" fmla="*/ 61 w 201"/>
                <a:gd name="T33" fmla="*/ 42 h 142"/>
                <a:gd name="T34" fmla="*/ 61 w 201"/>
                <a:gd name="T35" fmla="*/ 17 h 142"/>
                <a:gd name="T36" fmla="*/ 67 w 201"/>
                <a:gd name="T37" fmla="*/ 11 h 142"/>
                <a:gd name="T38" fmla="*/ 135 w 201"/>
                <a:gd name="T39" fmla="*/ 11 h 142"/>
                <a:gd name="T40" fmla="*/ 141 w 201"/>
                <a:gd name="T41" fmla="*/ 17 h 142"/>
                <a:gd name="T42" fmla="*/ 141 w 201"/>
                <a:gd name="T43" fmla="*/ 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1" h="142">
                  <a:moveTo>
                    <a:pt x="152" y="42"/>
                  </a:moveTo>
                  <a:cubicBezTo>
                    <a:pt x="152" y="17"/>
                    <a:pt x="152" y="17"/>
                    <a:pt x="152" y="17"/>
                  </a:cubicBezTo>
                  <a:cubicBezTo>
                    <a:pt x="152" y="8"/>
                    <a:pt x="145" y="0"/>
                    <a:pt x="13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8" y="0"/>
                    <a:pt x="50" y="8"/>
                    <a:pt x="50" y="17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97"/>
                    <a:pt x="46" y="142"/>
                    <a:pt x="101" y="142"/>
                  </a:cubicBezTo>
                  <a:cubicBezTo>
                    <a:pt x="156" y="142"/>
                    <a:pt x="201" y="97"/>
                    <a:pt x="201" y="42"/>
                  </a:cubicBezTo>
                  <a:lnTo>
                    <a:pt x="152" y="42"/>
                  </a:lnTo>
                  <a:close/>
                  <a:moveTo>
                    <a:pt x="101" y="137"/>
                  </a:moveTo>
                  <a:cubicBezTo>
                    <a:pt x="93" y="137"/>
                    <a:pt x="86" y="131"/>
                    <a:pt x="86" y="122"/>
                  </a:cubicBezTo>
                  <a:cubicBezTo>
                    <a:pt x="86" y="114"/>
                    <a:pt x="93" y="107"/>
                    <a:pt x="101" y="107"/>
                  </a:cubicBezTo>
                  <a:cubicBezTo>
                    <a:pt x="109" y="107"/>
                    <a:pt x="116" y="114"/>
                    <a:pt x="116" y="122"/>
                  </a:cubicBezTo>
                  <a:cubicBezTo>
                    <a:pt x="116" y="131"/>
                    <a:pt x="109" y="137"/>
                    <a:pt x="101" y="137"/>
                  </a:cubicBezTo>
                  <a:close/>
                  <a:moveTo>
                    <a:pt x="141" y="42"/>
                  </a:moveTo>
                  <a:cubicBezTo>
                    <a:pt x="61" y="42"/>
                    <a:pt x="61" y="42"/>
                    <a:pt x="61" y="42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4"/>
                    <a:pt x="64" y="11"/>
                    <a:pt x="67" y="11"/>
                  </a:cubicBezTo>
                  <a:cubicBezTo>
                    <a:pt x="135" y="11"/>
                    <a:pt x="135" y="11"/>
                    <a:pt x="135" y="11"/>
                  </a:cubicBezTo>
                  <a:cubicBezTo>
                    <a:pt x="138" y="11"/>
                    <a:pt x="141" y="14"/>
                    <a:pt x="141" y="17"/>
                  </a:cubicBezTo>
                  <a:lnTo>
                    <a:pt x="141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aphicFrame>
        <p:nvGraphicFramePr>
          <p:cNvPr id="215" name="Table 214">
            <a:extLst>
              <a:ext uri="{FF2B5EF4-FFF2-40B4-BE49-F238E27FC236}">
                <a16:creationId xmlns:a16="http://schemas.microsoft.com/office/drawing/2014/main" id="{87215B83-4E3A-4DA4-AC3D-CBD918E57C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665838"/>
              </p:ext>
            </p:extLst>
          </p:nvPr>
        </p:nvGraphicFramePr>
        <p:xfrm>
          <a:off x="5430052" y="1082675"/>
          <a:ext cx="6533348" cy="534068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5333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95307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SELECTED RELEVANT EXPER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8773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Telecommunication Company – Web Developer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Javed Alam was a Web Developer who performed various product configuration which includes web backend development, API and web services creation.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He implemented complex functionality such as reward stamping, point redemption.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He has worked on end-to-end process : development, testing &amp; deployment.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Created mobile API with Laravel /Lumen framework.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Research and implement jQuery libraries such as lightbox, sliders, lazy loading, parallax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Added new functionalities according to requirements.</a:t>
                      </a:r>
                    </a:p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latin typeface="Graphik" panose="020B0503030202060203" pitchFamily="34" charset="0"/>
                          <a:ea typeface="ＭＳ Ｐゴシック" charset="-128"/>
                        </a:rPr>
                        <a:t>IT Software service provider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 Company – Web Developer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Javed Alam was a Web Developer who performed various product configuration which includes web backend development, API and web services creation.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He also worked on Real Estate based project and developed a system which one will provide loan against property.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Modified plug-ins for CMS based sites.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Utilized MySQL/MongoDB for persistent user data storage for non-CMS based sites.</a:t>
                      </a:r>
                    </a:p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 Web Development(</a:t>
                      </a:r>
                      <a:r>
                        <a:rPr lang="en-US" sz="1200" b="1" i="0" kern="1200" dirty="0">
                          <a:solidFill>
                            <a:schemeClr val="tx1"/>
                          </a:solidFill>
                          <a:effectLst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Classic Informatics Pvt Ltd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) Company– PHP Developer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Javed Alam was a PHP Developer who worked on Magento ecommerce projects.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Maintained existing websites and upgrade using PHP, MySQL, CSS, jQuery, AJAX and HTML.</a:t>
                      </a:r>
                    </a:p>
                    <a:p>
                      <a:pPr marL="137160" marR="0" lvl="1" indent="-13716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raphik" panose="020B0503030202060203" pitchFamily="34" charset="0"/>
                          <a:ea typeface="+mn-ea"/>
                          <a:cs typeface="+mn-cs"/>
                        </a:rPr>
                        <a:t>Used PHP Soap client to get data from data services</a:t>
                      </a: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816896"/>
                  </a:ext>
                </a:extLst>
              </a:tr>
            </a:tbl>
          </a:graphicData>
        </a:graphic>
      </p:graphicFrame>
      <p:grpSp>
        <p:nvGrpSpPr>
          <p:cNvPr id="216" name="Group 215">
            <a:extLst>
              <a:ext uri="{FF2B5EF4-FFF2-40B4-BE49-F238E27FC236}">
                <a16:creationId xmlns:a16="http://schemas.microsoft.com/office/drawing/2014/main" id="{64F35319-EC62-4D7E-906A-9BC84D09BB9D}"/>
              </a:ext>
            </a:extLst>
          </p:cNvPr>
          <p:cNvGrpSpPr/>
          <p:nvPr/>
        </p:nvGrpSpPr>
        <p:grpSpPr>
          <a:xfrm>
            <a:off x="6763514" y="1167936"/>
            <a:ext cx="220792" cy="215528"/>
            <a:chOff x="3581837" y="3583791"/>
            <a:chExt cx="247185" cy="250287"/>
          </a:xfrm>
          <a:solidFill>
            <a:schemeClr val="bg1"/>
          </a:solidFill>
        </p:grpSpPr>
        <p:sp>
          <p:nvSpPr>
            <p:cNvPr id="217" name="Freeform 63">
              <a:extLst>
                <a:ext uri="{FF2B5EF4-FFF2-40B4-BE49-F238E27FC236}">
                  <a16:creationId xmlns:a16="http://schemas.microsoft.com/office/drawing/2014/main" id="{8F84490F-1AA0-4A8D-88ED-1E218EEE9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1837" y="3583791"/>
              <a:ext cx="190302" cy="191335"/>
            </a:xfrm>
            <a:custGeom>
              <a:avLst/>
              <a:gdLst>
                <a:gd name="T0" fmla="*/ 157 w 171"/>
                <a:gd name="T1" fmla="*/ 76 h 171"/>
                <a:gd name="T2" fmla="*/ 149 w 171"/>
                <a:gd name="T3" fmla="*/ 67 h 171"/>
                <a:gd name="T4" fmla="*/ 156 w 171"/>
                <a:gd name="T5" fmla="*/ 56 h 171"/>
                <a:gd name="T6" fmla="*/ 146 w 171"/>
                <a:gd name="T7" fmla="*/ 39 h 171"/>
                <a:gd name="T8" fmla="*/ 134 w 171"/>
                <a:gd name="T9" fmla="*/ 40 h 171"/>
                <a:gd name="T10" fmla="*/ 130 w 171"/>
                <a:gd name="T11" fmla="*/ 28 h 171"/>
                <a:gd name="T12" fmla="*/ 128 w 171"/>
                <a:gd name="T13" fmla="*/ 12 h 171"/>
                <a:gd name="T14" fmla="*/ 113 w 171"/>
                <a:gd name="T15" fmla="*/ 19 h 171"/>
                <a:gd name="T16" fmla="*/ 101 w 171"/>
                <a:gd name="T17" fmla="*/ 21 h 171"/>
                <a:gd name="T18" fmla="*/ 95 w 171"/>
                <a:gd name="T19" fmla="*/ 10 h 171"/>
                <a:gd name="T20" fmla="*/ 76 w 171"/>
                <a:gd name="T21" fmla="*/ 10 h 171"/>
                <a:gd name="T22" fmla="*/ 70 w 171"/>
                <a:gd name="T23" fmla="*/ 21 h 171"/>
                <a:gd name="T24" fmla="*/ 58 w 171"/>
                <a:gd name="T25" fmla="*/ 19 h 171"/>
                <a:gd name="T26" fmla="*/ 43 w 171"/>
                <a:gd name="T27" fmla="*/ 12 h 171"/>
                <a:gd name="T28" fmla="*/ 41 w 171"/>
                <a:gd name="T29" fmla="*/ 28 h 171"/>
                <a:gd name="T30" fmla="*/ 37 w 171"/>
                <a:gd name="T31" fmla="*/ 40 h 171"/>
                <a:gd name="T32" fmla="*/ 25 w 171"/>
                <a:gd name="T33" fmla="*/ 39 h 171"/>
                <a:gd name="T34" fmla="*/ 15 w 171"/>
                <a:gd name="T35" fmla="*/ 56 h 171"/>
                <a:gd name="T36" fmla="*/ 22 w 171"/>
                <a:gd name="T37" fmla="*/ 67 h 171"/>
                <a:gd name="T38" fmla="*/ 14 w 171"/>
                <a:gd name="T39" fmla="*/ 76 h 171"/>
                <a:gd name="T40" fmla="*/ 0 w 171"/>
                <a:gd name="T41" fmla="*/ 86 h 171"/>
                <a:gd name="T42" fmla="*/ 14 w 171"/>
                <a:gd name="T43" fmla="*/ 95 h 171"/>
                <a:gd name="T44" fmla="*/ 22 w 171"/>
                <a:gd name="T45" fmla="*/ 105 h 171"/>
                <a:gd name="T46" fmla="*/ 15 w 171"/>
                <a:gd name="T47" fmla="*/ 115 h 171"/>
                <a:gd name="T48" fmla="*/ 20 w 171"/>
                <a:gd name="T49" fmla="*/ 133 h 171"/>
                <a:gd name="T50" fmla="*/ 28 w 171"/>
                <a:gd name="T51" fmla="*/ 130 h 171"/>
                <a:gd name="T52" fmla="*/ 40 w 171"/>
                <a:gd name="T53" fmla="*/ 134 h 171"/>
                <a:gd name="T54" fmla="*/ 39 w 171"/>
                <a:gd name="T55" fmla="*/ 147 h 171"/>
                <a:gd name="T56" fmla="*/ 48 w 171"/>
                <a:gd name="T57" fmla="*/ 161 h 171"/>
                <a:gd name="T58" fmla="*/ 58 w 171"/>
                <a:gd name="T59" fmla="*/ 153 h 171"/>
                <a:gd name="T60" fmla="*/ 70 w 171"/>
                <a:gd name="T61" fmla="*/ 150 h 171"/>
                <a:gd name="T62" fmla="*/ 76 w 171"/>
                <a:gd name="T63" fmla="*/ 161 h 171"/>
                <a:gd name="T64" fmla="*/ 95 w 171"/>
                <a:gd name="T65" fmla="*/ 161 h 171"/>
                <a:gd name="T66" fmla="*/ 101 w 171"/>
                <a:gd name="T67" fmla="*/ 150 h 171"/>
                <a:gd name="T68" fmla="*/ 113 w 171"/>
                <a:gd name="T69" fmla="*/ 153 h 171"/>
                <a:gd name="T70" fmla="*/ 123 w 171"/>
                <a:gd name="T71" fmla="*/ 161 h 171"/>
                <a:gd name="T72" fmla="*/ 132 w 171"/>
                <a:gd name="T73" fmla="*/ 147 h 171"/>
                <a:gd name="T74" fmla="*/ 131 w 171"/>
                <a:gd name="T75" fmla="*/ 134 h 171"/>
                <a:gd name="T76" fmla="*/ 143 w 171"/>
                <a:gd name="T77" fmla="*/ 130 h 171"/>
                <a:gd name="T78" fmla="*/ 151 w 171"/>
                <a:gd name="T79" fmla="*/ 133 h 171"/>
                <a:gd name="T80" fmla="*/ 156 w 171"/>
                <a:gd name="T81" fmla="*/ 115 h 171"/>
                <a:gd name="T82" fmla="*/ 149 w 171"/>
                <a:gd name="T83" fmla="*/ 105 h 171"/>
                <a:gd name="T84" fmla="*/ 157 w 171"/>
                <a:gd name="T85" fmla="*/ 95 h 171"/>
                <a:gd name="T86" fmla="*/ 171 w 171"/>
                <a:gd name="T87" fmla="*/ 86 h 171"/>
                <a:gd name="T88" fmla="*/ 85 w 171"/>
                <a:gd name="T89" fmla="*/ 131 h 171"/>
                <a:gd name="T90" fmla="*/ 85 w 171"/>
                <a:gd name="T91" fmla="*/ 40 h 171"/>
                <a:gd name="T92" fmla="*/ 85 w 171"/>
                <a:gd name="T93" fmla="*/ 13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1" h="171">
                  <a:moveTo>
                    <a:pt x="161" y="76"/>
                  </a:moveTo>
                  <a:cubicBezTo>
                    <a:pt x="157" y="76"/>
                    <a:pt x="157" y="76"/>
                    <a:pt x="157" y="76"/>
                  </a:cubicBezTo>
                  <a:cubicBezTo>
                    <a:pt x="154" y="76"/>
                    <a:pt x="151" y="74"/>
                    <a:pt x="150" y="70"/>
                  </a:cubicBezTo>
                  <a:cubicBezTo>
                    <a:pt x="150" y="69"/>
                    <a:pt x="149" y="68"/>
                    <a:pt x="149" y="67"/>
                  </a:cubicBezTo>
                  <a:cubicBezTo>
                    <a:pt x="148" y="63"/>
                    <a:pt x="149" y="60"/>
                    <a:pt x="153" y="58"/>
                  </a:cubicBezTo>
                  <a:cubicBezTo>
                    <a:pt x="156" y="56"/>
                    <a:pt x="156" y="56"/>
                    <a:pt x="156" y="56"/>
                  </a:cubicBezTo>
                  <a:cubicBezTo>
                    <a:pt x="160" y="53"/>
                    <a:pt x="162" y="47"/>
                    <a:pt x="159" y="43"/>
                  </a:cubicBezTo>
                  <a:cubicBezTo>
                    <a:pt x="157" y="38"/>
                    <a:pt x="151" y="37"/>
                    <a:pt x="146" y="39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3"/>
                    <a:pt x="136" y="43"/>
                    <a:pt x="134" y="40"/>
                  </a:cubicBezTo>
                  <a:cubicBezTo>
                    <a:pt x="133" y="39"/>
                    <a:pt x="132" y="38"/>
                    <a:pt x="131" y="37"/>
                  </a:cubicBezTo>
                  <a:cubicBezTo>
                    <a:pt x="128" y="35"/>
                    <a:pt x="128" y="31"/>
                    <a:pt x="130" y="28"/>
                  </a:cubicBezTo>
                  <a:cubicBezTo>
                    <a:pt x="132" y="25"/>
                    <a:pt x="132" y="25"/>
                    <a:pt x="132" y="25"/>
                  </a:cubicBezTo>
                  <a:cubicBezTo>
                    <a:pt x="134" y="20"/>
                    <a:pt x="133" y="14"/>
                    <a:pt x="128" y="12"/>
                  </a:cubicBezTo>
                  <a:cubicBezTo>
                    <a:pt x="124" y="9"/>
                    <a:pt x="118" y="11"/>
                    <a:pt x="115" y="15"/>
                  </a:cubicBezTo>
                  <a:cubicBezTo>
                    <a:pt x="113" y="19"/>
                    <a:pt x="113" y="19"/>
                    <a:pt x="113" y="19"/>
                  </a:cubicBezTo>
                  <a:cubicBezTo>
                    <a:pt x="111" y="22"/>
                    <a:pt x="108" y="23"/>
                    <a:pt x="105" y="22"/>
                  </a:cubicBezTo>
                  <a:cubicBezTo>
                    <a:pt x="103" y="22"/>
                    <a:pt x="102" y="21"/>
                    <a:pt x="101" y="21"/>
                  </a:cubicBezTo>
                  <a:cubicBezTo>
                    <a:pt x="97" y="20"/>
                    <a:pt x="95" y="17"/>
                    <a:pt x="95" y="14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5" y="5"/>
                    <a:pt x="91" y="0"/>
                    <a:pt x="85" y="0"/>
                  </a:cubicBezTo>
                  <a:cubicBezTo>
                    <a:pt x="80" y="0"/>
                    <a:pt x="76" y="5"/>
                    <a:pt x="76" y="10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7"/>
                    <a:pt x="74" y="20"/>
                    <a:pt x="70" y="21"/>
                  </a:cubicBezTo>
                  <a:cubicBezTo>
                    <a:pt x="69" y="21"/>
                    <a:pt x="68" y="22"/>
                    <a:pt x="66" y="22"/>
                  </a:cubicBezTo>
                  <a:cubicBezTo>
                    <a:pt x="63" y="23"/>
                    <a:pt x="59" y="22"/>
                    <a:pt x="58" y="19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3" y="11"/>
                    <a:pt x="47" y="9"/>
                    <a:pt x="43" y="12"/>
                  </a:cubicBezTo>
                  <a:cubicBezTo>
                    <a:pt x="38" y="14"/>
                    <a:pt x="37" y="20"/>
                    <a:pt x="39" y="25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3" y="31"/>
                    <a:pt x="43" y="35"/>
                    <a:pt x="40" y="37"/>
                  </a:cubicBezTo>
                  <a:cubicBezTo>
                    <a:pt x="39" y="38"/>
                    <a:pt x="38" y="39"/>
                    <a:pt x="37" y="40"/>
                  </a:cubicBezTo>
                  <a:cubicBezTo>
                    <a:pt x="35" y="43"/>
                    <a:pt x="31" y="43"/>
                    <a:pt x="28" y="4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0" y="37"/>
                    <a:pt x="14" y="38"/>
                    <a:pt x="12" y="43"/>
                  </a:cubicBezTo>
                  <a:cubicBezTo>
                    <a:pt x="9" y="47"/>
                    <a:pt x="11" y="53"/>
                    <a:pt x="15" y="56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22" y="60"/>
                    <a:pt x="23" y="63"/>
                    <a:pt x="22" y="67"/>
                  </a:cubicBezTo>
                  <a:cubicBezTo>
                    <a:pt x="22" y="68"/>
                    <a:pt x="21" y="69"/>
                    <a:pt x="21" y="70"/>
                  </a:cubicBezTo>
                  <a:cubicBezTo>
                    <a:pt x="20" y="74"/>
                    <a:pt x="17" y="76"/>
                    <a:pt x="14" y="76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4" y="76"/>
                    <a:pt x="0" y="80"/>
                    <a:pt x="0" y="86"/>
                  </a:cubicBezTo>
                  <a:cubicBezTo>
                    <a:pt x="0" y="91"/>
                    <a:pt x="4" y="95"/>
                    <a:pt x="10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7" y="95"/>
                    <a:pt x="20" y="97"/>
                    <a:pt x="21" y="101"/>
                  </a:cubicBezTo>
                  <a:cubicBezTo>
                    <a:pt x="21" y="102"/>
                    <a:pt x="22" y="103"/>
                    <a:pt x="22" y="105"/>
                  </a:cubicBezTo>
                  <a:cubicBezTo>
                    <a:pt x="23" y="108"/>
                    <a:pt x="21" y="112"/>
                    <a:pt x="18" y="113"/>
                  </a:cubicBezTo>
                  <a:cubicBezTo>
                    <a:pt x="15" y="115"/>
                    <a:pt x="15" y="115"/>
                    <a:pt x="15" y="115"/>
                  </a:cubicBezTo>
                  <a:cubicBezTo>
                    <a:pt x="11" y="118"/>
                    <a:pt x="9" y="124"/>
                    <a:pt x="12" y="128"/>
                  </a:cubicBezTo>
                  <a:cubicBezTo>
                    <a:pt x="13" y="131"/>
                    <a:pt x="17" y="133"/>
                    <a:pt x="20" y="133"/>
                  </a:cubicBezTo>
                  <a:cubicBezTo>
                    <a:pt x="21" y="133"/>
                    <a:pt x="23" y="133"/>
                    <a:pt x="25" y="132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31" y="128"/>
                    <a:pt x="35" y="129"/>
                    <a:pt x="37" y="131"/>
                  </a:cubicBezTo>
                  <a:cubicBezTo>
                    <a:pt x="38" y="132"/>
                    <a:pt x="39" y="133"/>
                    <a:pt x="40" y="134"/>
                  </a:cubicBezTo>
                  <a:cubicBezTo>
                    <a:pt x="43" y="136"/>
                    <a:pt x="43" y="140"/>
                    <a:pt x="41" y="143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7" y="151"/>
                    <a:pt x="38" y="157"/>
                    <a:pt x="43" y="159"/>
                  </a:cubicBezTo>
                  <a:cubicBezTo>
                    <a:pt x="44" y="160"/>
                    <a:pt x="46" y="161"/>
                    <a:pt x="48" y="161"/>
                  </a:cubicBezTo>
                  <a:cubicBezTo>
                    <a:pt x="51" y="161"/>
                    <a:pt x="54" y="159"/>
                    <a:pt x="56" y="156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9" y="150"/>
                    <a:pt x="63" y="148"/>
                    <a:pt x="66" y="149"/>
                  </a:cubicBezTo>
                  <a:cubicBezTo>
                    <a:pt x="68" y="150"/>
                    <a:pt x="69" y="150"/>
                    <a:pt x="70" y="150"/>
                  </a:cubicBezTo>
                  <a:cubicBezTo>
                    <a:pt x="74" y="151"/>
                    <a:pt x="76" y="154"/>
                    <a:pt x="76" y="158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6" y="167"/>
                    <a:pt x="80" y="171"/>
                    <a:pt x="85" y="171"/>
                  </a:cubicBezTo>
                  <a:cubicBezTo>
                    <a:pt x="91" y="171"/>
                    <a:pt x="95" y="167"/>
                    <a:pt x="95" y="161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5" y="154"/>
                    <a:pt x="97" y="151"/>
                    <a:pt x="101" y="150"/>
                  </a:cubicBezTo>
                  <a:cubicBezTo>
                    <a:pt x="102" y="150"/>
                    <a:pt x="103" y="150"/>
                    <a:pt x="105" y="149"/>
                  </a:cubicBezTo>
                  <a:cubicBezTo>
                    <a:pt x="108" y="148"/>
                    <a:pt x="111" y="150"/>
                    <a:pt x="113" y="153"/>
                  </a:cubicBezTo>
                  <a:cubicBezTo>
                    <a:pt x="115" y="156"/>
                    <a:pt x="115" y="156"/>
                    <a:pt x="115" y="156"/>
                  </a:cubicBezTo>
                  <a:cubicBezTo>
                    <a:pt x="117" y="159"/>
                    <a:pt x="120" y="161"/>
                    <a:pt x="123" y="161"/>
                  </a:cubicBezTo>
                  <a:cubicBezTo>
                    <a:pt x="125" y="161"/>
                    <a:pt x="127" y="160"/>
                    <a:pt x="128" y="159"/>
                  </a:cubicBezTo>
                  <a:cubicBezTo>
                    <a:pt x="133" y="157"/>
                    <a:pt x="134" y="151"/>
                    <a:pt x="132" y="147"/>
                  </a:cubicBezTo>
                  <a:cubicBezTo>
                    <a:pt x="130" y="143"/>
                    <a:pt x="130" y="143"/>
                    <a:pt x="130" y="143"/>
                  </a:cubicBezTo>
                  <a:cubicBezTo>
                    <a:pt x="128" y="140"/>
                    <a:pt x="128" y="136"/>
                    <a:pt x="131" y="134"/>
                  </a:cubicBezTo>
                  <a:cubicBezTo>
                    <a:pt x="132" y="133"/>
                    <a:pt x="133" y="132"/>
                    <a:pt x="134" y="131"/>
                  </a:cubicBezTo>
                  <a:cubicBezTo>
                    <a:pt x="136" y="129"/>
                    <a:pt x="140" y="128"/>
                    <a:pt x="143" y="130"/>
                  </a:cubicBezTo>
                  <a:cubicBezTo>
                    <a:pt x="146" y="132"/>
                    <a:pt x="146" y="132"/>
                    <a:pt x="146" y="132"/>
                  </a:cubicBezTo>
                  <a:cubicBezTo>
                    <a:pt x="148" y="133"/>
                    <a:pt x="150" y="133"/>
                    <a:pt x="151" y="133"/>
                  </a:cubicBezTo>
                  <a:cubicBezTo>
                    <a:pt x="154" y="133"/>
                    <a:pt x="158" y="131"/>
                    <a:pt x="159" y="128"/>
                  </a:cubicBezTo>
                  <a:cubicBezTo>
                    <a:pt x="162" y="124"/>
                    <a:pt x="160" y="118"/>
                    <a:pt x="156" y="115"/>
                  </a:cubicBezTo>
                  <a:cubicBezTo>
                    <a:pt x="152" y="113"/>
                    <a:pt x="152" y="113"/>
                    <a:pt x="152" y="113"/>
                  </a:cubicBezTo>
                  <a:cubicBezTo>
                    <a:pt x="149" y="112"/>
                    <a:pt x="148" y="108"/>
                    <a:pt x="149" y="105"/>
                  </a:cubicBezTo>
                  <a:cubicBezTo>
                    <a:pt x="149" y="103"/>
                    <a:pt x="150" y="102"/>
                    <a:pt x="150" y="101"/>
                  </a:cubicBezTo>
                  <a:cubicBezTo>
                    <a:pt x="151" y="97"/>
                    <a:pt x="154" y="95"/>
                    <a:pt x="157" y="95"/>
                  </a:cubicBezTo>
                  <a:cubicBezTo>
                    <a:pt x="161" y="95"/>
                    <a:pt x="161" y="95"/>
                    <a:pt x="161" y="95"/>
                  </a:cubicBezTo>
                  <a:cubicBezTo>
                    <a:pt x="167" y="95"/>
                    <a:pt x="171" y="91"/>
                    <a:pt x="171" y="86"/>
                  </a:cubicBezTo>
                  <a:cubicBezTo>
                    <a:pt x="171" y="80"/>
                    <a:pt x="167" y="76"/>
                    <a:pt x="161" y="76"/>
                  </a:cubicBezTo>
                  <a:close/>
                  <a:moveTo>
                    <a:pt x="85" y="131"/>
                  </a:moveTo>
                  <a:cubicBezTo>
                    <a:pt x="60" y="131"/>
                    <a:pt x="40" y="111"/>
                    <a:pt x="40" y="86"/>
                  </a:cubicBezTo>
                  <a:cubicBezTo>
                    <a:pt x="40" y="60"/>
                    <a:pt x="60" y="40"/>
                    <a:pt x="85" y="40"/>
                  </a:cubicBezTo>
                  <a:cubicBezTo>
                    <a:pt x="111" y="40"/>
                    <a:pt x="131" y="60"/>
                    <a:pt x="131" y="86"/>
                  </a:cubicBezTo>
                  <a:cubicBezTo>
                    <a:pt x="131" y="111"/>
                    <a:pt x="111" y="131"/>
                    <a:pt x="85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8" name="Freeform 64">
              <a:extLst>
                <a:ext uri="{FF2B5EF4-FFF2-40B4-BE49-F238E27FC236}">
                  <a16:creationId xmlns:a16="http://schemas.microsoft.com/office/drawing/2014/main" id="{6D41721E-6F63-4597-984C-DE88AC6B74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7666" y="3732722"/>
              <a:ext cx="101356" cy="101356"/>
            </a:xfrm>
            <a:custGeom>
              <a:avLst/>
              <a:gdLst>
                <a:gd name="T0" fmla="*/ 82 w 91"/>
                <a:gd name="T1" fmla="*/ 36 h 91"/>
                <a:gd name="T2" fmla="*/ 74 w 91"/>
                <a:gd name="T3" fmla="*/ 36 h 91"/>
                <a:gd name="T4" fmla="*/ 73 w 91"/>
                <a:gd name="T5" fmla="*/ 32 h 91"/>
                <a:gd name="T6" fmla="*/ 78 w 91"/>
                <a:gd name="T7" fmla="*/ 27 h 91"/>
                <a:gd name="T8" fmla="*/ 78 w 91"/>
                <a:gd name="T9" fmla="*/ 13 h 91"/>
                <a:gd name="T10" fmla="*/ 64 w 91"/>
                <a:gd name="T11" fmla="*/ 13 h 91"/>
                <a:gd name="T12" fmla="*/ 59 w 91"/>
                <a:gd name="T13" fmla="*/ 18 h 91"/>
                <a:gd name="T14" fmla="*/ 55 w 91"/>
                <a:gd name="T15" fmla="*/ 17 h 91"/>
                <a:gd name="T16" fmla="*/ 55 w 91"/>
                <a:gd name="T17" fmla="*/ 9 h 91"/>
                <a:gd name="T18" fmla="*/ 46 w 91"/>
                <a:gd name="T19" fmla="*/ 0 h 91"/>
                <a:gd name="T20" fmla="*/ 36 w 91"/>
                <a:gd name="T21" fmla="*/ 9 h 91"/>
                <a:gd name="T22" fmla="*/ 36 w 91"/>
                <a:gd name="T23" fmla="*/ 17 h 91"/>
                <a:gd name="T24" fmla="*/ 32 w 91"/>
                <a:gd name="T25" fmla="*/ 18 h 91"/>
                <a:gd name="T26" fmla="*/ 27 w 91"/>
                <a:gd name="T27" fmla="*/ 13 h 91"/>
                <a:gd name="T28" fmla="*/ 13 w 91"/>
                <a:gd name="T29" fmla="*/ 13 h 91"/>
                <a:gd name="T30" fmla="*/ 13 w 91"/>
                <a:gd name="T31" fmla="*/ 27 h 91"/>
                <a:gd name="T32" fmla="*/ 18 w 91"/>
                <a:gd name="T33" fmla="*/ 32 h 91"/>
                <a:gd name="T34" fmla="*/ 17 w 91"/>
                <a:gd name="T35" fmla="*/ 36 h 91"/>
                <a:gd name="T36" fmla="*/ 9 w 91"/>
                <a:gd name="T37" fmla="*/ 36 h 91"/>
                <a:gd name="T38" fmla="*/ 0 w 91"/>
                <a:gd name="T39" fmla="*/ 46 h 91"/>
                <a:gd name="T40" fmla="*/ 9 w 91"/>
                <a:gd name="T41" fmla="*/ 55 h 91"/>
                <a:gd name="T42" fmla="*/ 17 w 91"/>
                <a:gd name="T43" fmla="*/ 55 h 91"/>
                <a:gd name="T44" fmla="*/ 18 w 91"/>
                <a:gd name="T45" fmla="*/ 59 h 91"/>
                <a:gd name="T46" fmla="*/ 13 w 91"/>
                <a:gd name="T47" fmla="*/ 64 h 91"/>
                <a:gd name="T48" fmla="*/ 13 w 91"/>
                <a:gd name="T49" fmla="*/ 78 h 91"/>
                <a:gd name="T50" fmla="*/ 20 w 91"/>
                <a:gd name="T51" fmla="*/ 80 h 91"/>
                <a:gd name="T52" fmla="*/ 27 w 91"/>
                <a:gd name="T53" fmla="*/ 78 h 91"/>
                <a:gd name="T54" fmla="*/ 32 w 91"/>
                <a:gd name="T55" fmla="*/ 73 h 91"/>
                <a:gd name="T56" fmla="*/ 36 w 91"/>
                <a:gd name="T57" fmla="*/ 74 h 91"/>
                <a:gd name="T58" fmla="*/ 36 w 91"/>
                <a:gd name="T59" fmla="*/ 82 h 91"/>
                <a:gd name="T60" fmla="*/ 46 w 91"/>
                <a:gd name="T61" fmla="*/ 91 h 91"/>
                <a:gd name="T62" fmla="*/ 55 w 91"/>
                <a:gd name="T63" fmla="*/ 82 h 91"/>
                <a:gd name="T64" fmla="*/ 55 w 91"/>
                <a:gd name="T65" fmla="*/ 74 h 91"/>
                <a:gd name="T66" fmla="*/ 59 w 91"/>
                <a:gd name="T67" fmla="*/ 73 h 91"/>
                <a:gd name="T68" fmla="*/ 64 w 91"/>
                <a:gd name="T69" fmla="*/ 78 h 91"/>
                <a:gd name="T70" fmla="*/ 71 w 91"/>
                <a:gd name="T71" fmla="*/ 80 h 91"/>
                <a:gd name="T72" fmla="*/ 78 w 91"/>
                <a:gd name="T73" fmla="*/ 78 h 91"/>
                <a:gd name="T74" fmla="*/ 78 w 91"/>
                <a:gd name="T75" fmla="*/ 64 h 91"/>
                <a:gd name="T76" fmla="*/ 73 w 91"/>
                <a:gd name="T77" fmla="*/ 59 h 91"/>
                <a:gd name="T78" fmla="*/ 74 w 91"/>
                <a:gd name="T79" fmla="*/ 55 h 91"/>
                <a:gd name="T80" fmla="*/ 82 w 91"/>
                <a:gd name="T81" fmla="*/ 55 h 91"/>
                <a:gd name="T82" fmla="*/ 91 w 91"/>
                <a:gd name="T83" fmla="*/ 46 h 91"/>
                <a:gd name="T84" fmla="*/ 82 w 91"/>
                <a:gd name="T85" fmla="*/ 36 h 91"/>
                <a:gd name="T86" fmla="*/ 46 w 91"/>
                <a:gd name="T87" fmla="*/ 66 h 91"/>
                <a:gd name="T88" fmla="*/ 25 w 91"/>
                <a:gd name="T89" fmla="*/ 46 h 91"/>
                <a:gd name="T90" fmla="*/ 46 w 91"/>
                <a:gd name="T91" fmla="*/ 25 h 91"/>
                <a:gd name="T92" fmla="*/ 66 w 91"/>
                <a:gd name="T93" fmla="*/ 46 h 91"/>
                <a:gd name="T94" fmla="*/ 46 w 91"/>
                <a:gd name="T95" fmla="*/ 6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1" h="91">
                  <a:moveTo>
                    <a:pt x="82" y="36"/>
                  </a:moveTo>
                  <a:cubicBezTo>
                    <a:pt x="74" y="36"/>
                    <a:pt x="74" y="36"/>
                    <a:pt x="74" y="36"/>
                  </a:cubicBezTo>
                  <a:cubicBezTo>
                    <a:pt x="74" y="35"/>
                    <a:pt x="73" y="33"/>
                    <a:pt x="73" y="32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81" y="23"/>
                    <a:pt x="81" y="17"/>
                    <a:pt x="78" y="13"/>
                  </a:cubicBezTo>
                  <a:cubicBezTo>
                    <a:pt x="74" y="10"/>
                    <a:pt x="68" y="10"/>
                    <a:pt x="64" y="13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8" y="18"/>
                    <a:pt x="56" y="17"/>
                    <a:pt x="55" y="17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4"/>
                    <a:pt x="51" y="0"/>
                    <a:pt x="46" y="0"/>
                  </a:cubicBezTo>
                  <a:cubicBezTo>
                    <a:pt x="40" y="0"/>
                    <a:pt x="36" y="4"/>
                    <a:pt x="36" y="9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5" y="17"/>
                    <a:pt x="33" y="18"/>
                    <a:pt x="32" y="18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3" y="10"/>
                    <a:pt x="17" y="10"/>
                    <a:pt x="13" y="13"/>
                  </a:cubicBezTo>
                  <a:cubicBezTo>
                    <a:pt x="10" y="17"/>
                    <a:pt x="10" y="23"/>
                    <a:pt x="13" y="27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3"/>
                    <a:pt x="17" y="35"/>
                    <a:pt x="17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4" y="36"/>
                    <a:pt x="0" y="40"/>
                    <a:pt x="0" y="46"/>
                  </a:cubicBezTo>
                  <a:cubicBezTo>
                    <a:pt x="0" y="51"/>
                    <a:pt x="4" y="55"/>
                    <a:pt x="9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6"/>
                    <a:pt x="18" y="58"/>
                    <a:pt x="18" y="59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10" y="68"/>
                    <a:pt x="10" y="74"/>
                    <a:pt x="13" y="78"/>
                  </a:cubicBezTo>
                  <a:cubicBezTo>
                    <a:pt x="15" y="80"/>
                    <a:pt x="18" y="80"/>
                    <a:pt x="20" y="80"/>
                  </a:cubicBezTo>
                  <a:cubicBezTo>
                    <a:pt x="22" y="80"/>
                    <a:pt x="25" y="80"/>
                    <a:pt x="27" y="78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3" y="73"/>
                    <a:pt x="35" y="74"/>
                    <a:pt x="36" y="74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7"/>
                    <a:pt x="40" y="91"/>
                    <a:pt x="46" y="91"/>
                  </a:cubicBezTo>
                  <a:cubicBezTo>
                    <a:pt x="51" y="91"/>
                    <a:pt x="55" y="87"/>
                    <a:pt x="55" y="82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6" y="74"/>
                    <a:pt x="58" y="73"/>
                    <a:pt x="59" y="73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6" y="80"/>
                    <a:pt x="69" y="80"/>
                    <a:pt x="71" y="80"/>
                  </a:cubicBezTo>
                  <a:cubicBezTo>
                    <a:pt x="73" y="80"/>
                    <a:pt x="76" y="80"/>
                    <a:pt x="78" y="78"/>
                  </a:cubicBezTo>
                  <a:cubicBezTo>
                    <a:pt x="81" y="74"/>
                    <a:pt x="81" y="68"/>
                    <a:pt x="78" y="64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8"/>
                    <a:pt x="74" y="56"/>
                    <a:pt x="74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7" y="55"/>
                    <a:pt x="91" y="51"/>
                    <a:pt x="91" y="46"/>
                  </a:cubicBezTo>
                  <a:cubicBezTo>
                    <a:pt x="91" y="40"/>
                    <a:pt x="87" y="36"/>
                    <a:pt x="82" y="36"/>
                  </a:cubicBezTo>
                  <a:close/>
                  <a:moveTo>
                    <a:pt x="46" y="66"/>
                  </a:moveTo>
                  <a:cubicBezTo>
                    <a:pt x="34" y="66"/>
                    <a:pt x="25" y="57"/>
                    <a:pt x="25" y="46"/>
                  </a:cubicBezTo>
                  <a:cubicBezTo>
                    <a:pt x="25" y="34"/>
                    <a:pt x="34" y="25"/>
                    <a:pt x="46" y="25"/>
                  </a:cubicBezTo>
                  <a:cubicBezTo>
                    <a:pt x="57" y="25"/>
                    <a:pt x="66" y="34"/>
                    <a:pt x="66" y="46"/>
                  </a:cubicBezTo>
                  <a:cubicBezTo>
                    <a:pt x="66" y="57"/>
                    <a:pt x="57" y="66"/>
                    <a:pt x="4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</p:spTree>
    <p:extLst>
      <p:ext uri="{BB962C8B-B14F-4D97-AF65-F5344CB8AC3E}">
        <p14:creationId xmlns:p14="http://schemas.microsoft.com/office/powerpoint/2010/main" val="1107796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1</TotalTime>
  <Words>356</Words>
  <Application>Microsoft Office PowerPoint</Application>
  <PresentationFormat>Widescreen</PresentationFormat>
  <Paragraphs>4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Graphik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in, Yoong Tat</dc:creator>
  <cp:lastModifiedBy>Alam, Javed B.</cp:lastModifiedBy>
  <cp:revision>19</cp:revision>
  <dcterms:created xsi:type="dcterms:W3CDTF">2020-06-23T07:31:52Z</dcterms:created>
  <dcterms:modified xsi:type="dcterms:W3CDTF">2020-06-25T07:35:50Z</dcterms:modified>
</cp:coreProperties>
</file>